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stafa, Insha SBOBNG-PTIY/TLA" userId="15cd3cd4-95eb-4c80-a3da-17e5453f6f9d" providerId="ADAL" clId="{2D1BE939-3EEC-4120-BE20-4404ACE3D487}"/>
    <pc:docChg chg="modSld">
      <pc:chgData name="Mustafa, Insha SBOBNG-PTIY/TLA" userId="15cd3cd4-95eb-4c80-a3da-17e5453f6f9d" providerId="ADAL" clId="{2D1BE939-3EEC-4120-BE20-4404ACE3D487}" dt="2024-08-30T05:22:54.606" v="28" actId="20577"/>
      <pc:docMkLst>
        <pc:docMk/>
      </pc:docMkLst>
      <pc:sldChg chg="modSp mod">
        <pc:chgData name="Mustafa, Insha SBOBNG-PTIY/TLA" userId="15cd3cd4-95eb-4c80-a3da-17e5453f6f9d" providerId="ADAL" clId="{2D1BE939-3EEC-4120-BE20-4404ACE3D487}" dt="2024-08-30T05:22:54.606" v="28" actId="20577"/>
        <pc:sldMkLst>
          <pc:docMk/>
          <pc:sldMk cId="3267775274" sldId="256"/>
        </pc:sldMkLst>
        <pc:spChg chg="mod">
          <ac:chgData name="Mustafa, Insha SBOBNG-PTIY/TLA" userId="15cd3cd4-95eb-4c80-a3da-17e5453f6f9d" providerId="ADAL" clId="{2D1BE939-3EEC-4120-BE20-4404ACE3D487}" dt="2024-08-30T05:22:54.606" v="28" actId="20577"/>
          <ac:spMkLst>
            <pc:docMk/>
            <pc:sldMk cId="3267775274" sldId="256"/>
            <ac:spMk id="12" creationId="{8A24547F-8A92-CDC5-A578-3733390534F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&lt;&gt;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Insha Mustaf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1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2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What were the challenges I faced while implementing Learning 3 and my plan to overcome them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tails of actions planned for the new lrearning or overcoming the challenge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lanned timeline to implement the action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Please share how ”Your” learning was fun this week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Details of any group activity</a:t>
            </a:r>
          </a:p>
          <a:p>
            <a:r>
              <a:rPr lang="en-US" sz="2000" dirty="0"/>
              <a:t>Details of any funny incident which had an element of new learning for this week’s topic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/>
              <a:t>Quick summary</a:t>
            </a:r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1800" dirty="0"/>
              <a:t>Importance of topics of upcoming week</a:t>
            </a:r>
          </a:p>
          <a:p>
            <a:pPr>
              <a:lnSpc>
                <a:spcPct val="100000"/>
              </a:lnSpc>
            </a:pPr>
            <a:endParaRPr lang="en-US" sz="1800" dirty="0"/>
          </a:p>
          <a:p>
            <a:pPr>
              <a:lnSpc>
                <a:spcPct val="100000"/>
              </a:lnSpc>
            </a:pPr>
            <a:r>
              <a:rPr lang="en-US" sz="1800" dirty="0"/>
              <a:t>Connectivity of topics from current week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 phrase that represents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your motto in life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/>
              <a:t>Please share an image / visual that best represents you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Please share (in your own words) details of the learn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/>
          </a:p>
          <a:p>
            <a:r>
              <a:rPr lang="en-US" sz="2000"/>
              <a:t>Key learning</a:t>
            </a:r>
          </a:p>
          <a:p>
            <a:r>
              <a:rPr lang="en-US" sz="2000"/>
              <a:t>Key takeaway</a:t>
            </a:r>
          </a:p>
          <a:p>
            <a:r>
              <a:rPr lang="en-US" sz="2000"/>
              <a:t>How do I personally see this concept implemented in the Energy sec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How I feel Shell implements this learning (in your own words)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benefits from this learning (in your own words)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15</TotalTime>
  <Words>596</Words>
  <Application>Microsoft Office PowerPoint</Application>
  <PresentationFormat>Widescreen</PresentationFormat>
  <Paragraphs>103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Mustafa, Insha SBOBNG-PTIY/TLA</cp:lastModifiedBy>
  <cp:revision>501</cp:revision>
  <dcterms:created xsi:type="dcterms:W3CDTF">2022-01-18T12:35:56Z</dcterms:created>
  <dcterms:modified xsi:type="dcterms:W3CDTF">2024-08-30T05:2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